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75" r:id="rId10"/>
    <p:sldId id="1976" r:id="rId11"/>
    <p:sldId id="1977" r:id="rId12"/>
    <p:sldId id="1978" r:id="rId13"/>
    <p:sldId id="1979" r:id="rId14"/>
    <p:sldId id="1980" r:id="rId15"/>
    <p:sldId id="1981" r:id="rId16"/>
    <p:sldId id="1982" r:id="rId17"/>
    <p:sldId id="1951" r:id="rId18"/>
    <p:sldId id="1959" r:id="rId19"/>
    <p:sldId id="1961" r:id="rId20"/>
    <p:sldId id="1983" r:id="rId21"/>
    <p:sldId id="1984" r:id="rId22"/>
    <p:sldId id="1986" r:id="rId23"/>
    <p:sldId id="1953" r:id="rId24"/>
    <p:sldId id="1956" r:id="rId25"/>
    <p:sldId id="1965" r:id="rId26"/>
    <p:sldId id="1974" r:id="rId27"/>
    <p:sldId id="1963" r:id="rId28"/>
    <p:sldId id="1966" r:id="rId29"/>
    <p:sldId id="1964" r:id="rId30"/>
    <p:sldId id="1967" r:id="rId31"/>
    <p:sldId id="1968" r:id="rId32"/>
    <p:sldId id="1969" r:id="rId33"/>
    <p:sldId id="1970" r:id="rId34"/>
    <p:sldId id="1971" r:id="rId35"/>
    <p:sldId id="1972" r:id="rId36"/>
    <p:sldId id="1973" r:id="rId37"/>
  </p:sldIdLst>
  <p:sldSz cx="9144000" cy="6858000" type="screen4x3"/>
  <p:notesSz cx="6858000" cy="9661525"/>
  <p:custShowLst>
    <p:custShow name="Mustermann1" id="0">
      <p:sldLst/>
    </p:custShow>
  </p:custShowLst>
  <p:custDataLst>
    <p:tags r:id="rId40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0" d="100"/>
          <a:sy n="110" d="100"/>
        </p:scale>
        <p:origin x="-1644" y="-84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8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8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8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8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8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8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8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  <dgm:t>
        <a:bodyPr/>
        <a:lstStyle/>
        <a:p>
          <a:endParaRPr lang="de-DE"/>
        </a:p>
      </dgm:t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035AC2D-A387-4228-9E38-423DF014FF0A}" type="pres">
      <dgm:prSet presAssocID="{26018C0D-57D8-4ED6-A88E-C484A4AE7FDB}" presName="rootConnector" presStyleLbl="node2" presStyleIdx="7" presStyleCnt="8"/>
      <dgm:spPr/>
      <dgm:t>
        <a:bodyPr/>
        <a:lstStyle/>
        <a:p>
          <a:endParaRPr lang="de-DE"/>
        </a:p>
      </dgm:t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  <dgm:t>
        <a:bodyPr/>
        <a:lstStyle/>
        <a:p>
          <a:endParaRPr lang="de-DE"/>
        </a:p>
      </dgm:t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374C554-11B3-48EB-9740-621AA1D8993C}" type="pres">
      <dgm:prSet presAssocID="{264BE61B-92A3-4AD0-8A98-24C10B153985}" presName="rootConnector" presStyleLbl="node2" presStyleIdx="6" presStyleCnt="7"/>
      <dgm:spPr/>
      <dgm:t>
        <a:bodyPr/>
        <a:lstStyle/>
        <a:p>
          <a:endParaRPr lang="de-DE"/>
        </a:p>
      </dgm:t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/>
            <a:t>Überblick Transfermarkt</a:t>
          </a:r>
        </a:p>
      </dsp:txBody>
      <dsp:txXfrm>
        <a:off x="2580479" y="2266"/>
        <a:ext cx="2903039" cy="1090084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Zwischenstand Web-Scraping</a:t>
          </a:r>
        </a:p>
      </dsp:txBody>
      <dsp:txXfrm>
        <a:off x="2580479" y="1146854"/>
        <a:ext cx="2903039" cy="1090084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Benchmarking</a:t>
          </a:r>
        </a:p>
      </dsp:txBody>
      <dsp:txXfrm>
        <a:off x="2580479" y="2291443"/>
        <a:ext cx="2903039" cy="1090084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Next Steps</a:t>
          </a:r>
        </a:p>
      </dsp:txBody>
      <dsp:txXfrm>
        <a:off x="2580479" y="3436031"/>
        <a:ext cx="2903039" cy="109008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3543" y="1358514"/>
        <a:ext cx="1549406" cy="1811352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/>
            <a:t>z. B. Siege, Unentschieden und Niederlagen in den letzten x Spielen</a:t>
          </a:r>
        </a:p>
      </dsp:txBody>
      <dsp:txXfrm>
        <a:off x="1630420" y="1358514"/>
        <a:ext cx="1549406" cy="1811352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Statistische Datenanalyse</a:t>
          </a:r>
        </a:p>
      </dsp:txBody>
      <dsp:txXfrm>
        <a:off x="3257296" y="1358514"/>
        <a:ext cx="1549406" cy="1811352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Feature Engineering und Modelling</a:t>
          </a:r>
        </a:p>
      </dsp:txBody>
      <dsp:txXfrm>
        <a:off x="4884172" y="1358514"/>
        <a:ext cx="1549406" cy="1811352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Modellevaluation und Benchmarking</a:t>
          </a:r>
        </a:p>
      </dsp:txBody>
      <dsp:txXfrm>
        <a:off x="6511049" y="1358514"/>
        <a:ext cx="1549406" cy="18113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xmlns="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xmlns="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xmlns="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xmlns="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xmlns="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xmlns="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xmlns="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xmlns="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xmlns="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xmlns="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xmlns="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xmlns="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xmlns="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xmlns="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xmlns="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xmlns="" val="37144651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xmlns="" val="389260504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xmlns="" val="318375402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xmlns="" val="3518569522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7A53E07B-9265-78F5-9EAE-AC2FEC43E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xmlns="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15421" y="1448672"/>
            <a:ext cx="5579832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xmlns="" val="1049637152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xmlns="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xmlns="" val="820473851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xmlns="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231244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430394750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xmlns="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xmlns="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xmlns="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xmlns="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xmlns="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xmlns="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xmlns=""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xmlns="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xmlns="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xmlns="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xmlns="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xmlns="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69629437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xmlns="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2242142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2A5C051E-5423-1972-B635-54A092E88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83" y="1286419"/>
            <a:ext cx="3809860" cy="193820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A9A3D5F6-EC1E-C7DC-000E-2AAC58C57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83" y="3633378"/>
            <a:ext cx="3921827" cy="1915311"/>
          </a:xfrm>
          <a:prstGeom prst="rect">
            <a:avLst/>
          </a:prstGeom>
        </p:spPr>
      </p:pic>
      <p:sp>
        <p:nvSpPr>
          <p:cNvPr id="20" name="Inhaltsplatzhalter 19">
            <a:extLst>
              <a:ext uri="{FF2B5EF4-FFF2-40B4-BE49-F238E27FC236}">
                <a16:creationId xmlns:a16="http://schemas.microsoft.com/office/drawing/2014/main" xmlns="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xmlns="" id="{E80D7435-A8BA-89B1-3045-572F65C8B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5021" y="1286419"/>
            <a:ext cx="3809860" cy="195795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xmlns="" id="{B1C6EB9C-9181-A22A-126F-CA250061F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5556" y="360653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41323443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xmlns="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16116E25-6A74-CADA-5E0F-C7F041396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3687580"/>
            <a:ext cx="3915795" cy="202512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10DE7218-74B7-ED9A-CE8C-03A289479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56" y="1372579"/>
            <a:ext cx="3921827" cy="196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6301330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xmlns="" id="{577782E2-020B-192E-D849-A5E71437E1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AFF53069-8B31-D076-8B91-6C91390C0C97}"/>
              </a:ext>
            </a:extLst>
          </p:cNvPr>
          <p:cNvSpPr txBox="1">
            <a:spLocks/>
          </p:cNvSpPr>
          <p:nvPr/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In allen Fällen wurde Nullhypothese abgelehnt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 Prognosemodell statistisch signifikant unterschiedlich zu Zufallsmodell</a:t>
            </a:r>
          </a:p>
          <a:p>
            <a:endParaRPr lang="de-DE" kern="0" dirty="0">
              <a:sym typeface="Wingdings" panose="05000000000000000000" pitchFamily="2" charset="2"/>
            </a:endParaRPr>
          </a:p>
          <a:p>
            <a:r>
              <a:rPr lang="de-DE" kern="0" dirty="0">
                <a:sym typeface="Wingdings" panose="05000000000000000000" pitchFamily="2" charset="2"/>
              </a:rPr>
              <a:t>Test trifft keine Aussage über Stärke und Richtung der Unterschiede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Anhaltspunkt: Vergleiche die Werte b und c miteinander</a:t>
            </a:r>
          </a:p>
          <a:p>
            <a:pPr lvl="1"/>
            <a:r>
              <a:rPr lang="de-DE" kern="0" dirty="0">
                <a:sym typeface="Wingdings" panose="05000000000000000000" pitchFamily="2" charset="2"/>
              </a:rPr>
              <a:t>Da in den Prognosemodellen im Vergleich zum Zufallsmodell stets b&gt;c</a:t>
            </a:r>
          </a:p>
          <a:p>
            <a:pPr lvl="2"/>
            <a:r>
              <a:rPr lang="de-DE" kern="0" dirty="0">
                <a:sym typeface="Wingdings" panose="05000000000000000000" pitchFamily="2" charset="2"/>
              </a:rPr>
              <a:t> Prognosemodell statistisch signifikant besser als Zufallsmodell.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xmlns="" val="2108392271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xmlns="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707271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xmlns="" val="1230179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  <p:pic>
        <p:nvPicPr>
          <p:cNvPr id="7" name="Inhaltsplatzhalter 6" descr="Prozentuale Verteilung der Spalte RESULT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73" y="1242204"/>
            <a:ext cx="7891224" cy="4734734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393414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lleistung für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66" y="1176067"/>
            <a:ext cx="7435970" cy="495731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lleistung für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28624"/>
            <a:ext cx="7520075" cy="501338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F1-Score </a:t>
            </a:r>
            <a:r>
              <a:rPr lang="de-DE" dirty="0" smtClean="0"/>
              <a:t>Klasse </a:t>
            </a:r>
            <a:r>
              <a:rPr lang="de-DE" dirty="0"/>
              <a:t>0 </a:t>
            </a:r>
            <a:r>
              <a:rPr lang="de-DE" dirty="0" smtClean="0"/>
              <a:t>(Auswärtssieg)</a:t>
            </a:r>
            <a:endParaRPr lang="de-DE" dirty="0"/>
          </a:p>
        </p:txBody>
      </p:sp>
      <p:pic>
        <p:nvPicPr>
          <p:cNvPr id="6" name="Grafik 5" descr="Modellleistung für Total_F1-Score_Class_0 _Auswärts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1" y="1164566"/>
            <a:ext cx="7453223" cy="496881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618" y="1174630"/>
            <a:ext cx="7306574" cy="4871049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30" y="1140123"/>
            <a:ext cx="7360490" cy="4906994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6" name="Grafik 5" descr="Top 7 Teams für home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54" y="1122874"/>
            <a:ext cx="7565366" cy="504357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6" name="Grafik 5" descr="Top 7 Teams für away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143001"/>
            <a:ext cx="7556740" cy="503782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4516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0225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2674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8703866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633</Words>
  <Application>Microsoft Office PowerPoint</Application>
  <PresentationFormat>Bildschirmpräsentation (4:3)</PresentationFormat>
  <Paragraphs>260</Paragraphs>
  <Slides>36</Slides>
  <Notes>0</Notes>
  <HiddenSlides>1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Folientitel</vt:lpstr>
      </vt:variant>
      <vt:variant>
        <vt:i4>36</vt:i4>
      </vt:variant>
      <vt:variant>
        <vt:lpstr>Zielgruppenorientierte Präsentationen</vt:lpstr>
      </vt:variant>
      <vt:variant>
        <vt:i4>1</vt:i4>
      </vt:variant>
    </vt:vector>
  </HeadingPairs>
  <TitlesOfParts>
    <vt:vector size="38" baseType="lpstr"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Benchmark</vt:lpstr>
      <vt:lpstr>Modellsignifikanz</vt:lpstr>
      <vt:lpstr>Modellsignifikanz</vt:lpstr>
      <vt:lpstr>Modellsignifikanz</vt:lpstr>
      <vt:lpstr>Modellsignifikanz</vt:lpstr>
      <vt:lpstr>Modellsignifikanz</vt:lpstr>
      <vt:lpstr>Web Mining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Mustermann1</vt:lpstr>
    </vt:vector>
  </TitlesOfParts>
  <Company>Susanne Hamp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User</cp:lastModifiedBy>
  <cp:revision>655</cp:revision>
  <cp:lastPrinted>2010-04-29T14:30:22Z</cp:lastPrinted>
  <dcterms:created xsi:type="dcterms:W3CDTF">2010-04-29T12:39:23Z</dcterms:created>
  <dcterms:modified xsi:type="dcterms:W3CDTF">2023-09-15T17:2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9-10T16:50:59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c7fb8159-a651-4504-9bcc-abc68732bb83</vt:lpwstr>
  </property>
  <property fmtid="{D5CDD505-2E9C-101B-9397-08002B2CF9AE}" pid="8" name="MSIP_Label_0359f705-2ba0-454b-9cfc-6ce5bcaac040_ContentBits">
    <vt:lpwstr>2</vt:lpwstr>
  </property>
</Properties>
</file>